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27"/>
  </p:notesMasterIdLst>
  <p:handoutMasterIdLst>
    <p:handoutMasterId r:id="rId28"/>
  </p:handoutMasterIdLst>
  <p:sldIdLst>
    <p:sldId id="3428" r:id="rId19"/>
    <p:sldId id="3492" r:id="rId20"/>
    <p:sldId id="3435" r:id="rId21"/>
    <p:sldId id="3429" r:id="rId22"/>
    <p:sldId id="3444" r:id="rId23"/>
    <p:sldId id="3430" r:id="rId24"/>
    <p:sldId id="3360" r:id="rId25"/>
    <p:sldId id="1532" r:id="rId2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020A7A-4ACA-40BA-8C90-A260FE950EDB}" v="4" dt="2018-11-26T22:55:12.6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75" autoAdjust="0"/>
    <p:restoredTop sz="62699" autoAdjust="0"/>
  </p:normalViewPr>
  <p:slideViewPr>
    <p:cSldViewPr snapToGrid="0">
      <p:cViewPr varScale="1">
        <p:scale>
          <a:sx n="56" d="100"/>
          <a:sy n="56" d="100"/>
        </p:scale>
        <p:origin x="84" y="336"/>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 Type="http://schemas.openxmlformats.org/officeDocument/2006/relationships/customXml" Target="../customXml/item3.xml"/><Relationship Id="rId21" Type="http://schemas.openxmlformats.org/officeDocument/2006/relationships/slide" Target="slides/slide3.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ED1B5C91-ABE2-4CD1-AF18-3167B9665FE8}"/>
    <pc:docChg chg="delSld modSld delMainMaster">
      <pc:chgData name="Anna Thomas" userId="5d003f33-6e3f-406c-b398-0eb1113638fb" providerId="ADAL" clId="{ED1B5C91-ABE2-4CD1-AF18-3167B9665FE8}" dt="2018-08-29T15:05:20.778" v="270" actId="20577"/>
      <pc:docMkLst>
        <pc:docMk/>
      </pc:docMkLst>
      <pc:sldChg chg="modSp">
        <pc:chgData name="Anna Thomas" userId="5d003f33-6e3f-406c-b398-0eb1113638fb" providerId="ADAL" clId="{ED1B5C91-ABE2-4CD1-AF18-3167B9665FE8}" dt="2018-08-29T15:05:20.778" v="270" actId="20577"/>
        <pc:sldMkLst>
          <pc:docMk/>
          <pc:sldMk cId="3603855518" sldId="3444"/>
        </pc:sldMkLst>
        <pc:spChg chg="mod">
          <ac:chgData name="Anna Thomas" userId="5d003f33-6e3f-406c-b398-0eb1113638fb" providerId="ADAL" clId="{ED1B5C91-ABE2-4CD1-AF18-3167B9665FE8}" dt="2018-08-29T15:05:20.778" v="270" actId="20577"/>
          <ac:spMkLst>
            <pc:docMk/>
            <pc:sldMk cId="3603855518" sldId="3444"/>
            <ac:spMk id="2" creationId="{00000000-0000-0000-0000-000000000000}"/>
          </ac:spMkLst>
        </pc:spChg>
      </pc:sldChg>
    </pc:docChg>
  </pc:docChgLst>
  <pc:docChgLst>
    <pc:chgData name="Anna Thomas" userId="5d003f33-6e3f-406c-b398-0eb1113638fb" providerId="ADAL" clId="{21020A7A-4ACA-40BA-8C90-A260FE950EDB}"/>
    <pc:docChg chg="undo custSel addSld delSld modSld sldOrd">
      <pc:chgData name="Anna Thomas" userId="5d003f33-6e3f-406c-b398-0eb1113638fb" providerId="ADAL" clId="{21020A7A-4ACA-40BA-8C90-A260FE950EDB}" dt="2018-11-26T22:55:15.883" v="326" actId="2696"/>
      <pc:docMkLst>
        <pc:docMk/>
      </pc:docMkLst>
      <pc:sldChg chg="modSp add del">
        <pc:chgData name="Anna Thomas" userId="5d003f33-6e3f-406c-b398-0eb1113638fb" providerId="ADAL" clId="{21020A7A-4ACA-40BA-8C90-A260FE950EDB}" dt="2018-11-26T22:11:05.712" v="64" actId="20577"/>
        <pc:sldMkLst>
          <pc:docMk/>
          <pc:sldMk cId="2581619059" sldId="3428"/>
        </pc:sldMkLst>
        <pc:spChg chg="mod">
          <ac:chgData name="Anna Thomas" userId="5d003f33-6e3f-406c-b398-0eb1113638fb" providerId="ADAL" clId="{21020A7A-4ACA-40BA-8C90-A260FE950EDB}" dt="2018-11-26T22:11:05.712" v="64" actId="20577"/>
          <ac:spMkLst>
            <pc:docMk/>
            <pc:sldMk cId="2581619059" sldId="3428"/>
            <ac:spMk id="2" creationId="{00000000-0000-0000-0000-000000000000}"/>
          </ac:spMkLst>
        </pc:spChg>
      </pc:sldChg>
      <pc:sldChg chg="modSp">
        <pc:chgData name="Anna Thomas" userId="5d003f33-6e3f-406c-b398-0eb1113638fb" providerId="ADAL" clId="{21020A7A-4ACA-40BA-8C90-A260FE950EDB}" dt="2018-11-26T22:10:55.251" v="32" actId="20577"/>
        <pc:sldMkLst>
          <pc:docMk/>
          <pc:sldMk cId="1782481331" sldId="3429"/>
        </pc:sldMkLst>
        <pc:spChg chg="mod">
          <ac:chgData name="Anna Thomas" userId="5d003f33-6e3f-406c-b398-0eb1113638fb" providerId="ADAL" clId="{21020A7A-4ACA-40BA-8C90-A260FE950EDB}" dt="2018-11-26T22:10:55.251" v="32" actId="20577"/>
          <ac:spMkLst>
            <pc:docMk/>
            <pc:sldMk cId="1782481331" sldId="3429"/>
            <ac:spMk id="2" creationId="{00000000-0000-0000-0000-000000000000}"/>
          </ac:spMkLst>
        </pc:spChg>
      </pc:sldChg>
      <pc:sldChg chg="modSp add del ord">
        <pc:chgData name="Anna Thomas" userId="5d003f33-6e3f-406c-b398-0eb1113638fb" providerId="ADAL" clId="{21020A7A-4ACA-40BA-8C90-A260FE950EDB}" dt="2018-11-26T22:11:46.533" v="79" actId="20577"/>
        <pc:sldMkLst>
          <pc:docMk/>
          <pc:sldMk cId="370820391" sldId="3435"/>
        </pc:sldMkLst>
        <pc:spChg chg="mod">
          <ac:chgData name="Anna Thomas" userId="5d003f33-6e3f-406c-b398-0eb1113638fb" providerId="ADAL" clId="{21020A7A-4ACA-40BA-8C90-A260FE950EDB}" dt="2018-11-26T22:11:46.533" v="79" actId="20577"/>
          <ac:spMkLst>
            <pc:docMk/>
            <pc:sldMk cId="370820391" sldId="3435"/>
            <ac:spMk id="2" creationId="{00000000-0000-0000-0000-000000000000}"/>
          </ac:spMkLst>
        </pc:spChg>
        <pc:spChg chg="mod">
          <ac:chgData name="Anna Thomas" userId="5d003f33-6e3f-406c-b398-0eb1113638fb" providerId="ADAL" clId="{21020A7A-4ACA-40BA-8C90-A260FE950EDB}" dt="2018-11-26T22:11:42.496" v="78" actId="20577"/>
          <ac:spMkLst>
            <pc:docMk/>
            <pc:sldMk cId="370820391" sldId="3435"/>
            <ac:spMk id="5" creationId="{A59EA4C2-7E62-4580-BA01-BB9139C36ED9}"/>
          </ac:spMkLst>
        </pc:spChg>
      </pc:sldChg>
      <pc:sldChg chg="modSp">
        <pc:chgData name="Anna Thomas" userId="5d003f33-6e3f-406c-b398-0eb1113638fb" providerId="ADAL" clId="{21020A7A-4ACA-40BA-8C90-A260FE950EDB}" dt="2018-11-26T22:54:54.734" v="324" actId="20577"/>
        <pc:sldMkLst>
          <pc:docMk/>
          <pc:sldMk cId="3603855518" sldId="3444"/>
        </pc:sldMkLst>
        <pc:spChg chg="mod">
          <ac:chgData name="Anna Thomas" userId="5d003f33-6e3f-406c-b398-0eb1113638fb" providerId="ADAL" clId="{21020A7A-4ACA-40BA-8C90-A260FE950EDB}" dt="2018-11-26T22:54:54.734" v="324" actId="20577"/>
          <ac:spMkLst>
            <pc:docMk/>
            <pc:sldMk cId="3603855518" sldId="3444"/>
            <ac:spMk id="2" creationId="{00000000-0000-0000-0000-000000000000}"/>
          </ac:spMkLst>
        </pc:spChg>
        <pc:spChg chg="mod">
          <ac:chgData name="Anna Thomas" userId="5d003f33-6e3f-406c-b398-0eb1113638fb" providerId="ADAL" clId="{21020A7A-4ACA-40BA-8C90-A260FE950EDB}" dt="2018-11-26T22:54:36.171" v="289" actId="20577"/>
          <ac:spMkLst>
            <pc:docMk/>
            <pc:sldMk cId="3603855518" sldId="3444"/>
            <ac:spMk id="5" creationId="{A59EA4C2-7E62-4580-BA01-BB9139C36ED9}"/>
          </ac:spMkLst>
        </pc:spChg>
      </pc:sldChg>
      <pc:sldChg chg="del">
        <pc:chgData name="Anna Thomas" userId="5d003f33-6e3f-406c-b398-0eb1113638fb" providerId="ADAL" clId="{21020A7A-4ACA-40BA-8C90-A260FE950EDB}" dt="2018-11-26T22:55:15.883" v="326" actId="2696"/>
        <pc:sldMkLst>
          <pc:docMk/>
          <pc:sldMk cId="3521897340" sldId="3445"/>
        </pc:sldMkLst>
      </pc:sldChg>
      <pc:sldChg chg="del">
        <pc:chgData name="Anna Thomas" userId="5d003f33-6e3f-406c-b398-0eb1113638fb" providerId="ADAL" clId="{21020A7A-4ACA-40BA-8C90-A260FE950EDB}" dt="2018-11-26T22:55:03.944" v="325" actId="2696"/>
        <pc:sldMkLst>
          <pc:docMk/>
          <pc:sldMk cId="1267134754" sldId="3446"/>
        </pc:sldMkLst>
      </pc:sldChg>
      <pc:sldChg chg="modSp add del modNotesTx">
        <pc:chgData name="Anna Thomas" userId="5d003f33-6e3f-406c-b398-0eb1113638fb" providerId="ADAL" clId="{21020A7A-4ACA-40BA-8C90-A260FE950EDB}" dt="2018-11-26T22:12:25.128" v="218" actId="20577"/>
        <pc:sldMkLst>
          <pc:docMk/>
          <pc:sldMk cId="1287195447" sldId="3492"/>
        </pc:sldMkLst>
        <pc:spChg chg="mod">
          <ac:chgData name="Anna Thomas" userId="5d003f33-6e3f-406c-b398-0eb1113638fb" providerId="ADAL" clId="{21020A7A-4ACA-40BA-8C90-A260FE950EDB}" dt="2018-11-26T22:12:13.608" v="170" actId="20577"/>
          <ac:spMkLst>
            <pc:docMk/>
            <pc:sldMk cId="1287195447" sldId="3492"/>
            <ac:spMk id="4" creationId="{616C5F49-332E-4482-84F4-F0523C81A3EA}"/>
          </ac:spMkLst>
        </pc:spChg>
      </pc:sldChg>
      <pc:sldChg chg="add del">
        <pc:chgData name="Anna Thomas" userId="5d003f33-6e3f-406c-b398-0eb1113638fb" providerId="ADAL" clId="{21020A7A-4ACA-40BA-8C90-A260FE950EDB}" dt="2018-11-26T22:13:04.625" v="220" actId="2696"/>
        <pc:sldMkLst>
          <pc:docMk/>
          <pc:sldMk cId="628937622" sldId="3493"/>
        </pc:sldMkLst>
      </pc:sldChg>
      <pc:sldChg chg="add del">
        <pc:chgData name="Anna Thomas" userId="5d003f33-6e3f-406c-b398-0eb1113638fb" providerId="ADAL" clId="{21020A7A-4ACA-40BA-8C90-A260FE950EDB}" dt="2018-11-26T22:13:04.625" v="221" actId="2696"/>
        <pc:sldMkLst>
          <pc:docMk/>
          <pc:sldMk cId="3518283869" sldId="3494"/>
        </pc:sldMkLst>
      </pc:sldChg>
      <pc:sldChg chg="add del">
        <pc:chgData name="Anna Thomas" userId="5d003f33-6e3f-406c-b398-0eb1113638fb" providerId="ADAL" clId="{21020A7A-4ACA-40BA-8C90-A260FE950EDB}" dt="2018-11-26T22:13:04.641" v="222" actId="2696"/>
        <pc:sldMkLst>
          <pc:docMk/>
          <pc:sldMk cId="703213649" sldId="3495"/>
        </pc:sldMkLst>
      </pc:sldChg>
      <pc:sldChg chg="add del">
        <pc:chgData name="Anna Thomas" userId="5d003f33-6e3f-406c-b398-0eb1113638fb" providerId="ADAL" clId="{21020A7A-4ACA-40BA-8C90-A260FE950EDB}" dt="2018-11-26T22:13:04.641" v="223" actId="2696"/>
        <pc:sldMkLst>
          <pc:docMk/>
          <pc:sldMk cId="585730164" sldId="3496"/>
        </pc:sldMkLst>
      </pc:sldChg>
      <pc:sldChg chg="add del">
        <pc:chgData name="Anna Thomas" userId="5d003f33-6e3f-406c-b398-0eb1113638fb" providerId="ADAL" clId="{21020A7A-4ACA-40BA-8C90-A260FE950EDB}" dt="2018-11-26T22:13:04.661" v="224" actId="2696"/>
        <pc:sldMkLst>
          <pc:docMk/>
          <pc:sldMk cId="1660172517" sldId="3497"/>
        </pc:sldMkLst>
      </pc:sldChg>
      <pc:sldChg chg="add del">
        <pc:chgData name="Anna Thomas" userId="5d003f33-6e3f-406c-b398-0eb1113638fb" providerId="ADAL" clId="{21020A7A-4ACA-40BA-8C90-A260FE950EDB}" dt="2018-11-26T22:13:04.663" v="225" actId="2696"/>
        <pc:sldMkLst>
          <pc:docMk/>
          <pc:sldMk cId="337997224" sldId="3498"/>
        </pc:sldMkLst>
      </pc:sldChg>
      <pc:sldChg chg="add del">
        <pc:chgData name="Anna Thomas" userId="5d003f33-6e3f-406c-b398-0eb1113638fb" providerId="ADAL" clId="{21020A7A-4ACA-40BA-8C90-A260FE950EDB}" dt="2018-11-26T22:13:04.663" v="226" actId="2696"/>
        <pc:sldMkLst>
          <pc:docMk/>
          <pc:sldMk cId="2511495913" sldId="3499"/>
        </pc:sldMkLst>
      </pc:sldChg>
      <pc:sldChg chg="add del">
        <pc:chgData name="Anna Thomas" userId="5d003f33-6e3f-406c-b398-0eb1113638fb" providerId="ADAL" clId="{21020A7A-4ACA-40BA-8C90-A260FE950EDB}" dt="2018-11-26T22:13:04.679" v="228" actId="2696"/>
        <pc:sldMkLst>
          <pc:docMk/>
          <pc:sldMk cId="2698923151" sldId="3500"/>
        </pc:sldMkLst>
      </pc:sldChg>
      <pc:sldChg chg="add del">
        <pc:chgData name="Anna Thomas" userId="5d003f33-6e3f-406c-b398-0eb1113638fb" providerId="ADAL" clId="{21020A7A-4ACA-40BA-8C90-A260FE950EDB}" dt="2018-11-26T22:13:04.679" v="227" actId="2696"/>
        <pc:sldMkLst>
          <pc:docMk/>
          <pc:sldMk cId="4074175147" sldId="3501"/>
        </pc:sldMkLst>
      </pc:sldChg>
      <pc:sldChg chg="add del">
        <pc:chgData name="Anna Thomas" userId="5d003f33-6e3f-406c-b398-0eb1113638fb" providerId="ADAL" clId="{21020A7A-4ACA-40BA-8C90-A260FE950EDB}" dt="2018-11-26T22:13:04.695" v="229" actId="2696"/>
        <pc:sldMkLst>
          <pc:docMk/>
          <pc:sldMk cId="801428849" sldId="3502"/>
        </pc:sldMkLst>
      </pc:sldChg>
      <pc:sldChg chg="add del">
        <pc:chgData name="Anna Thomas" userId="5d003f33-6e3f-406c-b398-0eb1113638fb" providerId="ADAL" clId="{21020A7A-4ACA-40BA-8C90-A260FE950EDB}" dt="2018-11-26T22:13:04.695" v="230" actId="2696"/>
        <pc:sldMkLst>
          <pc:docMk/>
          <pc:sldMk cId="1004502471" sldId="3503"/>
        </pc:sldMkLst>
      </pc:sldChg>
      <pc:sldChg chg="add del">
        <pc:chgData name="Anna Thomas" userId="5d003f33-6e3f-406c-b398-0eb1113638fb" providerId="ADAL" clId="{21020A7A-4ACA-40BA-8C90-A260FE950EDB}" dt="2018-11-26T22:13:04.695" v="231" actId="2696"/>
        <pc:sldMkLst>
          <pc:docMk/>
          <pc:sldMk cId="423719359" sldId="3504"/>
        </pc:sldMkLst>
      </pc:sldChg>
      <pc:sldChg chg="add del">
        <pc:chgData name="Anna Thomas" userId="5d003f33-6e3f-406c-b398-0eb1113638fb" providerId="ADAL" clId="{21020A7A-4ACA-40BA-8C90-A260FE950EDB}" dt="2018-11-26T22:13:04.710" v="232" actId="2696"/>
        <pc:sldMkLst>
          <pc:docMk/>
          <pc:sldMk cId="4175466011" sldId="3505"/>
        </pc:sldMkLst>
      </pc:sldChg>
      <pc:sldChg chg="add del">
        <pc:chgData name="Anna Thomas" userId="5d003f33-6e3f-406c-b398-0eb1113638fb" providerId="ADAL" clId="{21020A7A-4ACA-40BA-8C90-A260FE950EDB}" dt="2018-11-26T22:13:04.625" v="219" actId="2696"/>
        <pc:sldMkLst>
          <pc:docMk/>
          <pc:sldMk cId="2513182447" sldId="350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26/2018 2:1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26/2018 2:1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6011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the GitHub and walk through the READM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5F1828-DED3-4B3E-946D-FF38F1AA0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115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56596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5107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9315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399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563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6/2018 2:1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6/1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8" Type="http://schemas.openxmlformats.org/officeDocument/2006/relationships/hyperlink" Target="https://github.com/Azure/LearnAI-Bootcamp/blob/master/lab02.1-azure_search/0_README.md" TargetMode="External"/><Relationship Id="rId13" Type="http://schemas.openxmlformats.org/officeDocument/2006/relationships/hyperlink" Target="https://github.com/Azure/LearnAI-Bootcamp/blob/master/lab01.5-luis/0_README.md" TargetMode="External"/><Relationship Id="rId18" Type="http://schemas.openxmlformats.org/officeDocument/2006/relationships/hyperlink" Target="https://github.com/Azure/LearnAI-Cognitive-Search/blob/master/05-Lab-2-Image-Skills.md" TargetMode="External"/><Relationship Id="rId3" Type="http://schemas.openxmlformats.org/officeDocument/2006/relationships/hyperlink" Target="https://github.com/Azure/LearnAI-Bootcamp/blob/master/lab01.1-computer_vision/1_Setup.md" TargetMode="External"/><Relationship Id="rId7" Type="http://schemas.openxmlformats.org/officeDocument/2006/relationships/hyperlink" Target="https://github.com/Azure/LearnAI-Bootcamp/blob/master/lab01.3_customvision02/0_README.md" TargetMode="External"/><Relationship Id="rId12" Type="http://schemas.openxmlformats.org/officeDocument/2006/relationships/hyperlink" Target="https://github.com/Azure/LearnAI-DesigningandArchitectingIntelligentAgents/blob/master/03-luis/2_activity.md" TargetMode="External"/><Relationship Id="rId17" Type="http://schemas.openxmlformats.org/officeDocument/2006/relationships/hyperlink" Target="https://github.com/Azure/LearnAI-Cognitive-Search/blob/master/04-Lab-1-Text-Skills.md" TargetMode="External"/><Relationship Id="rId2" Type="http://schemas.openxmlformats.org/officeDocument/2006/relationships/notesSlide" Target="../notesSlides/notesSlide7.xml"/><Relationship Id="rId16" Type="http://schemas.openxmlformats.org/officeDocument/2006/relationships/hyperlink" Target="https://github.com/Azure/LearnAI-DesigningandArchitectingIntelligentAgents/blob/master/04-architectures/2_activity.md" TargetMode="External"/><Relationship Id="rId1" Type="http://schemas.openxmlformats.org/officeDocument/2006/relationships/slideLayout" Target="../slideLayouts/slideLayout48.xml"/><Relationship Id="rId6" Type="http://schemas.openxmlformats.org/officeDocument/2006/relationships/hyperlink" Target="https://github.com/Azure/LearnAI-Bootcamp/blob/master/lab01.2_customvision01/0_README.md" TargetMode="External"/><Relationship Id="rId11" Type="http://schemas.openxmlformats.org/officeDocument/2006/relationships/hyperlink" Target="https://github.com/Azure/LearnAI-DesigningandArchitectingIntelligentAgents/blob/master/02-bot_design/2_activity.md" TargetMode="External"/><Relationship Id="rId5" Type="http://schemas.openxmlformats.org/officeDocument/2006/relationships/hyperlink" Target="https://github.com/Azure/LearnAI-Bootcamp/blob/master/lab01.1-computer_vision/0_README.md" TargetMode="External"/><Relationship Id="rId15" Type="http://schemas.openxmlformats.org/officeDocument/2006/relationships/hyperlink" Target="https://github.com/Azure/LearnAI-Bootcamp/blob/master/lab02.2-building_bots/0_README.md" TargetMode="External"/><Relationship Id="rId10" Type="http://schemas.openxmlformats.org/officeDocument/2006/relationships/hyperlink" Target="https://github.com/Azure/LearnAI-DesigningandArchitectingIntelligentAgents/blob/master/03-luis/1_session.ipynb" TargetMode="External"/><Relationship Id="rId19" Type="http://schemas.openxmlformats.org/officeDocument/2006/relationships/hyperlink" Target="file:///c:\Users\antho\LearnAI-Airlift\final_case.md" TargetMode="External"/><Relationship Id="rId4" Type="http://schemas.openxmlformats.org/officeDocument/2006/relationships/hyperlink" Target="https://github.com/Azure/LearnAI-DesigningandArchitectingIntelligentAgents/blob/master/05-cognitive_services/1_session.ipynb" TargetMode="External"/><Relationship Id="rId9" Type="http://schemas.openxmlformats.org/officeDocument/2006/relationships/hyperlink" Target="https://github.com/Azure/LearnAI-DesigningandArchitectingIntelligentAgents/blob/master/02-bot_design/1_session.ipynb" TargetMode="External"/><Relationship Id="rId14" Type="http://schemas.openxmlformats.org/officeDocument/2006/relationships/hyperlink" Target="https://github.com/Azure/LearnAI-DesigningandArchitectingIntelligentAgents/blob/master/04-architectures/1_session.ipynb"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2-4: Bing Search</a:t>
            </a:r>
          </a:p>
        </p:txBody>
      </p:sp>
    </p:spTree>
    <p:extLst>
      <p:ext uri="{BB962C8B-B14F-4D97-AF65-F5344CB8AC3E}">
        <p14:creationId xmlns:p14="http://schemas.microsoft.com/office/powerpoint/2010/main" val="258161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6C5F49-332E-4482-84F4-F0523C81A3EA}"/>
              </a:ext>
            </a:extLst>
          </p:cNvPr>
          <p:cNvSpPr>
            <a:spLocks noGrp="1"/>
          </p:cNvSpPr>
          <p:nvPr>
            <p:ph type="title"/>
          </p:nvPr>
        </p:nvSpPr>
        <p:spPr>
          <a:xfrm>
            <a:off x="269302" y="2084187"/>
            <a:ext cx="8964185" cy="1793090"/>
          </a:xfrm>
        </p:spPr>
        <p:txBody>
          <a:bodyPr/>
          <a:lstStyle/>
          <a:p>
            <a:r>
              <a:rPr lang="en-US" dirty="0"/>
              <a:t>Integrating Bing Search into</a:t>
            </a:r>
            <a:br>
              <a:rPr lang="en-US" dirty="0"/>
            </a:br>
            <a:r>
              <a:rPr lang="en-US" dirty="0"/>
              <a:t>existing applications</a:t>
            </a:r>
          </a:p>
        </p:txBody>
      </p:sp>
    </p:spTree>
    <p:extLst>
      <p:ext uri="{BB962C8B-B14F-4D97-AF65-F5344CB8AC3E}">
        <p14:creationId xmlns:p14="http://schemas.microsoft.com/office/powerpoint/2010/main" val="12871954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4930581"/>
          </a:xfrm>
        </p:spPr>
        <p:txBody>
          <a:bodyPr/>
          <a:lstStyle/>
          <a:p>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2-4PM</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Lab 7: Testing Bot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7082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3-4: Day 2 Case</a:t>
            </a:r>
          </a:p>
        </p:txBody>
      </p:sp>
    </p:spTree>
    <p:extLst>
      <p:ext uri="{BB962C8B-B14F-4D97-AF65-F5344CB8AC3E}">
        <p14:creationId xmlns:p14="http://schemas.microsoft.com/office/powerpoint/2010/main" val="1782481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4985980"/>
          </a:xfrm>
        </p:spPr>
        <p:txBody>
          <a:bodyPr/>
          <a:lstStyle/>
          <a:p>
            <a:br>
              <a:rPr lang="en-US" sz="4000" dirty="0">
                <a:latin typeface="Segoe UI Semilight" panose="020B0402040204020203" pitchFamily="34" charset="0"/>
                <a:cs typeface="Segoe UI Semilight" panose="020B0402040204020203" pitchFamily="34" charset="0"/>
              </a:rPr>
            </a:br>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4-5PM</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Day 2 Case:</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4400" dirty="0">
                <a:solidFill>
                  <a:srgbClr val="FFFFFF"/>
                </a:solidFill>
                <a:latin typeface="Segoe UI Light"/>
              </a:rPr>
              <a:t>Part 1: Architectures</a:t>
            </a:r>
          </a:p>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Part 2: Cognitive Services</a:t>
            </a:r>
          </a:p>
          <a:p>
            <a:pPr marL="0" marR="0" lvl="0" indent="0" algn="l" defTabSz="914192" rtl="0" eaLnBrk="1" fontAlgn="auto" latinLnBrk="0" hangingPunct="1">
              <a:lnSpc>
                <a:spcPct val="90000"/>
              </a:lnSpc>
              <a:spcBef>
                <a:spcPct val="0"/>
              </a:spcBef>
              <a:spcAft>
                <a:spcPts val="0"/>
              </a:spcAft>
              <a:buClrTx/>
              <a:buSzTx/>
              <a:buFontTx/>
              <a:buNone/>
              <a:tabLst/>
              <a:defRPr/>
            </a:pPr>
            <a:endParaRPr lang="en-US" sz="4400" dirty="0">
              <a:solidFill>
                <a:srgbClr val="FFFFFF"/>
              </a:solidFill>
              <a:latin typeface="Segoe UI Light"/>
            </a:endParaRP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60385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4-5: Discussion/Presentations/Day 2 closing</a:t>
            </a:r>
          </a:p>
        </p:txBody>
      </p:sp>
    </p:spTree>
    <p:extLst>
      <p:ext uri="{BB962C8B-B14F-4D97-AF65-F5344CB8AC3E}">
        <p14:creationId xmlns:p14="http://schemas.microsoft.com/office/powerpoint/2010/main" val="396239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6920" y="788110"/>
            <a:ext cx="11785385" cy="6247864"/>
          </a:xfrm>
          <a:prstGeom prst="rect">
            <a:avLst/>
          </a:prstGeom>
        </p:spPr>
        <p:txBody>
          <a:bodyPr wrap="square" numCol="3">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ognitive Service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3">
                  <a:extLst>
                    <a:ext uri="{A12FA001-AC4F-418D-AE19-62706E023703}">
                      <ahyp:hlinkClr xmlns:ahyp="http://schemas.microsoft.com/office/drawing/2018/hyperlinkcolor" val="tx"/>
                    </a:ext>
                  </a:extLst>
                </a:hlinkClick>
              </a:rPr>
              <a:t>Setup</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15-10: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4">
                  <a:extLst>
                    <a:ext uri="{A12FA001-AC4F-418D-AE19-62706E023703}">
                      <ahyp:hlinkClr xmlns:ahyp="http://schemas.microsoft.com/office/drawing/2018/hyperlinkcolor" val="tx"/>
                    </a:ext>
                  </a:extLst>
                </a:hlinkClick>
              </a:rPr>
              <a:t>Cognitive Service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PictureBot Introdu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Lab 1</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 Computer Vis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30: Custom Vision Service Introduction</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30-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Lab 2</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 Custom Vision Service I: Image Classifica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2:30: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Lab 3</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 Custom Vision Service II: Object Dete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30-3:45:</a:t>
            </a:r>
            <a:r>
              <a:rPr kumimoji="0" lang="en-US" sz="2000" b="1" i="0" u="none" strike="noStrike" kern="1200" cap="none" spc="0" normalizeH="0" baseline="0" noProof="0" dirty="0">
                <a:ln>
                  <a:noFill/>
                </a:ln>
                <a:solidFill>
                  <a:srgbClr val="434343"/>
                </a:solidFill>
                <a:effectLst/>
                <a:uLnTx/>
                <a:uFillTx/>
                <a:latin typeface="-apple-system"/>
                <a:ea typeface="+mn-ea"/>
                <a:cs typeface="+mn-cs"/>
              </a:rPr>
              <a:t>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Lab 4</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 Azure Search</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45-4: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9">
                  <a:extLst>
                    <a:ext uri="{A12FA001-AC4F-418D-AE19-62706E023703}">
                      <ahyp:hlinkClr xmlns:ahyp="http://schemas.microsoft.com/office/drawing/2018/hyperlinkcolor" val="tx"/>
                    </a:ext>
                  </a:extLst>
                </a:hlinkClick>
              </a:rPr>
              <a:t>Bot Desig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0">
                  <a:extLst>
                    <a:ext uri="{A12FA001-AC4F-418D-AE19-62706E023703}">
                      <ahyp:hlinkClr xmlns:ahyp="http://schemas.microsoft.com/office/drawing/2018/hyperlinkcolor" val="tx"/>
                    </a:ext>
                  </a:extLst>
                </a:hlinkClick>
              </a:rPr>
              <a:t>LUIS Desig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Overview</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15-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1">
                  <a:extLst>
                    <a:ext uri="{A12FA001-AC4F-418D-AE19-62706E023703}">
                      <ahyp:hlinkClr xmlns:ahyp="http://schemas.microsoft.com/office/drawing/2018/hyperlinkcolor" val="tx"/>
                    </a:ext>
                  </a:extLst>
                </a:hlinkClick>
              </a:rPr>
              <a:t>Part 1: Bot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2">
                  <a:extLst>
                    <a:ext uri="{A12FA001-AC4F-418D-AE19-62706E023703}">
                      <ahyp:hlinkClr xmlns:ahyp="http://schemas.microsoft.com/office/drawing/2018/hyperlinkcolor" val="tx"/>
                    </a:ext>
                  </a:extLst>
                </a:hlinkClick>
              </a:rPr>
              <a:t>Part 2: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72C6"/>
                </a:solidFill>
                <a:effectLst/>
                <a:uLnTx/>
                <a:uFillTx/>
                <a:latin typeface="-apple-system"/>
                <a:ea typeface="+mn-ea"/>
                <a:cs typeface="+mn-cs"/>
              </a:rPr>
              <a:t>5-6: Learn AI Office Hours</a:t>
            </a:r>
          </a:p>
          <a:p>
            <a:pPr marL="17"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Bot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 Recap and Intro to LUI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9:45: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3">
                  <a:extLst>
                    <a:ext uri="{A12FA001-AC4F-418D-AE19-62706E023703}">
                      <ahyp:hlinkClr xmlns:ahyp="http://schemas.microsoft.com/office/drawing/2018/hyperlinkcolor" val="tx"/>
                    </a:ext>
                  </a:extLst>
                </a:hlinkClick>
              </a:rPr>
              <a:t>Lab 5</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3">
                  <a:extLst>
                    <a:ext uri="{A12FA001-AC4F-418D-AE19-62706E023703}">
                      <ahyp:hlinkClr xmlns:ahyp="http://schemas.microsoft.com/office/drawing/2018/hyperlinkcolor" val="tx"/>
                    </a:ext>
                  </a:extLst>
                </a:hlinkClick>
              </a:rPr>
              <a:t>: Language Understanding Intelligent Service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45-10: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4">
                  <a:extLst>
                    <a:ext uri="{A12FA001-AC4F-418D-AE19-62706E023703}">
                      <ahyp:hlinkClr xmlns:ahyp="http://schemas.microsoft.com/office/drawing/2018/hyperlinkcolor" val="tx"/>
                    </a:ext>
                  </a:extLst>
                </a:hlinkClick>
              </a:rPr>
              <a:t>Bot Architecture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5-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Lab 6</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 Building Intelligent Bot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 </a:t>
            </a:r>
            <a:r>
              <a:rPr kumimoji="0" lang="en-US" sz="2000" b="1" i="0" u="sng" strike="noStrike" kern="1200" cap="none" spc="0" normalizeH="0" baseline="0" noProof="0" dirty="0">
                <a:ln>
                  <a:noFill/>
                </a:ln>
                <a:solidFill>
                  <a:srgbClr val="434343"/>
                </a:solidFill>
                <a:effectLst/>
                <a:uLnTx/>
                <a:uFillTx/>
                <a:latin typeface="-apple-system"/>
                <a:ea typeface="+mn-ea"/>
                <a:cs typeface="+mn-cs"/>
              </a:rPr>
              <a:t>Lab 6 </a:t>
            </a:r>
            <a:r>
              <a:rPr kumimoji="0" lang="en-US" sz="2000" b="0" i="0" u="sng" strike="noStrike" kern="1200" cap="none" spc="0" normalizeH="0" baseline="0" noProof="0" dirty="0">
                <a:ln>
                  <a:noFill/>
                </a:ln>
                <a:solidFill>
                  <a:srgbClr val="434343"/>
                </a:solidFill>
                <a:effectLst/>
                <a:uLnTx/>
                <a:uFillTx/>
                <a:latin typeface="-apple-system"/>
                <a:ea typeface="+mn-ea"/>
                <a:cs typeface="+mn-cs"/>
              </a:rPr>
              <a:t>continued</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4: </a:t>
            </a:r>
            <a:r>
              <a:rPr kumimoji="0" lang="en-US" sz="2000" b="1" i="0" u="sng" strike="noStrike" kern="1200" cap="none" spc="0" normalizeH="0" baseline="0" noProof="0" dirty="0">
                <a:ln>
                  <a:noFill/>
                </a:ln>
                <a:solidFill>
                  <a:srgbClr val="434343"/>
                </a:solidFill>
                <a:effectLst/>
                <a:uLnTx/>
                <a:uFillTx/>
                <a:latin typeface="-apple-system"/>
                <a:ea typeface="+mn-ea"/>
                <a:cs typeface="+mn-cs"/>
              </a:rPr>
              <a:t>Lab 7</a:t>
            </a:r>
            <a:r>
              <a:rPr kumimoji="0" lang="en-US" sz="2000" b="0" i="0" u="sng" strike="noStrike" kern="1200" cap="none" spc="0" normalizeH="0" baseline="0" noProof="0" dirty="0">
                <a:ln>
                  <a:noFill/>
                </a:ln>
                <a:solidFill>
                  <a:srgbClr val="434343"/>
                </a:solidFill>
                <a:effectLst/>
                <a:uLnTx/>
                <a:uFillTx/>
                <a:latin typeface="-apple-system"/>
                <a:ea typeface="+mn-ea"/>
                <a:cs typeface="+mn-cs"/>
              </a:rPr>
              <a:t>: Bing Sear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sng" strike="noStrike" kern="1200" cap="none" spc="0" normalizeH="0" baseline="0" noProof="0" dirty="0">
                <a:ln>
                  <a:noFill/>
                </a:ln>
                <a:solidFill>
                  <a:srgbClr val="434343"/>
                </a:solidFill>
                <a:effectLst/>
                <a:uLnTx/>
                <a:uFillTx/>
                <a:latin typeface="-apple-system"/>
                <a:ea typeface="+mn-ea"/>
                <a:cs typeface="+mn-cs"/>
              </a:rPr>
              <a:t>Part 1: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6">
                  <a:extLst>
                    <a:ext uri="{A12FA001-AC4F-418D-AE19-62706E023703}">
                      <ahyp:hlinkClr xmlns:ahyp="http://schemas.microsoft.com/office/drawing/2018/hyperlinkcolor" val="tx"/>
                    </a:ext>
                  </a:extLst>
                </a:hlinkClick>
              </a:rPr>
              <a:t>Bot Architecture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sng" strike="noStrike" kern="1200" cap="none" spc="0" normalizeH="0" baseline="0" noProof="0" dirty="0">
                <a:ln>
                  <a:noFill/>
                </a:ln>
                <a:solidFill>
                  <a:srgbClr val="434343"/>
                </a:solidFill>
                <a:effectLst/>
                <a:uLnTx/>
                <a:uFillTx/>
                <a:latin typeface="-apple-system"/>
                <a:ea typeface="+mn-ea"/>
                <a:cs typeface="+mn-cs"/>
              </a:rPr>
              <a:t>Part 2: Cognitive Service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72C6"/>
                </a:solidFill>
                <a:effectLst/>
                <a:uLnTx/>
                <a:uFillTx/>
                <a:latin typeface="-apple-system"/>
                <a:ea typeface="+mn-ea"/>
                <a:cs typeface="+mn-cs"/>
              </a:rPr>
              <a:t>5-6: Learn AI Office Hours</a:t>
            </a:r>
            <a:endParaRPr kumimoji="0" lang="en-US" sz="2000" b="0" i="0" u="sng"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3: Knowledge Mining/Final Case</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 Recap, Cognitive Search Intro, and Lab Architecture</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10:30: Environment Creation and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7">
                  <a:extLst>
                    <a:ext uri="{A12FA001-AC4F-418D-AE19-62706E023703}">
                      <ahyp:hlinkClr xmlns:ahyp="http://schemas.microsoft.com/office/drawing/2018/hyperlinkcolor" val="tx"/>
                    </a:ext>
                  </a:extLst>
                </a:hlinkClick>
              </a:rPr>
              <a:t>Lab 8</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7">
                  <a:extLst>
                    <a:ext uri="{A12FA001-AC4F-418D-AE19-62706E023703}">
                      <ahyp:hlinkClr xmlns:ahyp="http://schemas.microsoft.com/office/drawing/2018/hyperlinkcolor" val="tx"/>
                    </a:ext>
                  </a:extLst>
                </a:hlinkClick>
              </a:rPr>
              <a:t>: Cognitive Search I: Text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30-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8">
                  <a:extLst>
                    <a:ext uri="{A12FA001-AC4F-418D-AE19-62706E023703}">
                      <ahyp:hlinkClr xmlns:ahyp="http://schemas.microsoft.com/office/drawing/2018/hyperlinkcolor" val="tx"/>
                    </a:ext>
                  </a:extLst>
                </a:hlinkClick>
              </a:rPr>
              <a:t>Lab 9</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8">
                  <a:extLst>
                    <a:ext uri="{A12FA001-AC4F-418D-AE19-62706E023703}">
                      <ahyp:hlinkClr xmlns:ahyp="http://schemas.microsoft.com/office/drawing/2018/hyperlinkcolor" val="tx"/>
                    </a:ext>
                  </a:extLst>
                </a:hlinkClick>
              </a:rPr>
              <a:t>: Cognitive Search II: Image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1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Final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9">
                  <a:extLst>
                    <a:ext uri="{A12FA001-AC4F-418D-AE19-62706E023703}">
                      <ahyp:hlinkClr xmlns:ahyp="http://schemas.microsoft.com/office/drawing/2018/hyperlinkcolor" val="tx"/>
                    </a:ext>
                  </a:extLst>
                </a:hlinkClick>
              </a:rPr>
              <a:t>Introdu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5-3: Final Case: Working time</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4: Final Case: Presentation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Airlift Q&amp;A and Feedback</a:t>
            </a: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Agenda</a:t>
            </a:r>
          </a:p>
        </p:txBody>
      </p:sp>
    </p:spTree>
    <p:extLst>
      <p:ext uri="{BB962C8B-B14F-4D97-AF65-F5344CB8AC3E}">
        <p14:creationId xmlns:p14="http://schemas.microsoft.com/office/powerpoint/2010/main" val="371300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14cf87b9-506c-4eb7-bdeb-55290b0635a3"/>
    <ds:schemaRef ds:uri="http://purl.org/dc/elements/1.1/"/>
    <ds:schemaRef ds:uri="http://schemas.microsoft.com/office/2006/metadata/properties"/>
    <ds:schemaRef ds:uri="http://purl.org/dc/terms/"/>
    <ds:schemaRef ds:uri="7c45f18c-b2ec-4e3b-9613-4a8f6bc85080"/>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3B575706-ABF5-4979-B357-A10035364C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572</TotalTime>
  <Words>260</Words>
  <Application>Microsoft Office PowerPoint</Application>
  <PresentationFormat>Widescreen</PresentationFormat>
  <Paragraphs>72</Paragraphs>
  <Slides>8</Slides>
  <Notes>8</Notes>
  <HiddenSlides>3</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8</vt:i4>
      </vt:variant>
    </vt:vector>
  </HeadingPairs>
  <TitlesOfParts>
    <vt:vector size="34" baseType="lpstr">
      <vt:lpstr>-apple-system</vt: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2-4: Bing Search</vt:lpstr>
      <vt:lpstr>Integrating Bing Search into existing applications</vt:lpstr>
      <vt:lpstr> 2-4PM   https://github.com/Azure/LearnAI-Airlift    </vt:lpstr>
      <vt:lpstr>3-4: Day 2 Case</vt:lpstr>
      <vt:lpstr>  4-5PM   https://github.com/Azure/LearnAI-Airlift   </vt:lpstr>
      <vt:lpstr>4-5: Discussion/Presentations/Day 2 closing</vt:lpstr>
      <vt:lpstr>Agenda</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1</cp:revision>
  <dcterms:created xsi:type="dcterms:W3CDTF">2018-06-29T11:43:45Z</dcterms:created>
  <dcterms:modified xsi:type="dcterms:W3CDTF">2018-11-26T22:55:21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